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81" r:id="rId6"/>
  </p:sldMasterIdLst>
  <p:notesMasterIdLst>
    <p:notesMasterId r:id="rId8"/>
  </p:notesMasterIdLst>
  <p:handoutMasterIdLst>
    <p:handoutMasterId r:id="rId9"/>
  </p:handoutMasterIdLst>
  <p:sldIdLst>
    <p:sldId id="2142532257" r:id="rId7"/>
  </p:sldIdLst>
  <p:sldSz cx="12192000" cy="6858000"/>
  <p:notesSz cx="6797675" cy="9928225"/>
  <p:custDataLst>
    <p:tags r:id="rId1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elle, Chima O SPDC-PTD/C/NS" initials="ECOS" lastIdx="4" clrIdx="0">
    <p:extLst>
      <p:ext uri="{19B8F6BF-5375-455C-9EA6-DF929625EA0E}">
        <p15:presenceInfo xmlns:p15="http://schemas.microsoft.com/office/powerpoint/2012/main" userId="S::C.Emelle@shell.com::09f87e75-ba19-4635-8a13-5639b8556915" providerId="AD"/>
      </p:ext>
    </p:extLst>
  </p:cmAuthor>
  <p:cmAuthor id="2" name="Deshmukh, Umesh Kumar K SPDC-PTD/C/NDW" initials="DUKKS" lastIdx="3" clrIdx="1">
    <p:extLst>
      <p:ext uri="{19B8F6BF-5375-455C-9EA6-DF929625EA0E}">
        <p15:presenceInfo xmlns:p15="http://schemas.microsoft.com/office/powerpoint/2012/main" userId="S::UmeshKumar.Deshmukh@shell.com::bf04f35d-0d18-497c-add3-7dc9cecf6d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4660"/>
  </p:normalViewPr>
  <p:slideViewPr>
    <p:cSldViewPr snapToGrid="0">
      <p:cViewPr varScale="1">
        <p:scale>
          <a:sx n="67" d="100"/>
          <a:sy n="67" d="100"/>
        </p:scale>
        <p:origin x="732" y="4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6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4D412-A639-48C4-A635-7AF511B03257}" type="datetime1">
              <a:rPr lang="en-GB" smtClean="0"/>
              <a:t>26/02/2021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F6056B-1064-4C30-92B5-4BC591C4144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762083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anose="000004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E7B7AC-3266-40B3-A3C9-6D8FB88DEF1D}" type="datetime1">
              <a:rPr lang="en-GB" smtClean="0">
                <a:latin typeface="Futura Medium" panose="00000400000000000000" pitchFamily="2" charset="0"/>
              </a:rPr>
              <a:t>26/02/2021</a:t>
            </a:fld>
            <a:endParaRPr lang="en-GB" dirty="0">
              <a:latin typeface="Futura Medium" panose="00000400000000000000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>
              <a:latin typeface="Futura Medium" panose="00000400000000000000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566C54-7CF2-4839-949D-D0FFE8E0E9AC}" type="slidenum">
              <a:rPr lang="en-GB" smtClean="0">
                <a:latin typeface="Futura Medium" panose="00000400000000000000" pitchFamily="2" charset="0"/>
              </a:rPr>
              <a:t>‹#›</a:t>
            </a:fld>
            <a:endParaRPr lang="en-GB" dirty="0">
              <a:latin typeface="Futura Medium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00203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AB2D084-D4BB-459E-813B-F27A6B8D94FF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75320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Futura Medium" panose="00000400000000000000" pitchFamily="2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08DB0F0-8FD0-4E10-9003-8FE249B8DEA9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98122980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70590AC-DB02-4B45-9903-93A65EF9B1E9}" type="datetime1">
              <a:rPr lang="en-US" noProof="1" smtClean="0"/>
              <a:t>2/26/2021</a:t>
            </a:fld>
            <a:endParaRPr lang="nl-NL" noProof="1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098050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A08009B1-ACEC-49F8-B4C0-E21748D26516}" type="datetime1">
              <a:rPr lang="en-US" noProof="1" smtClean="0"/>
              <a:t>2/26/2021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03665492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601DB82-3CA2-41EB-AA58-EF97A13751E1}" type="datetime1">
              <a:rPr lang="en-US" noProof="1" smtClean="0"/>
              <a:t>2/26/2021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7741113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BD8F063-667F-4834-9209-D97DA49F5469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442455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12A6DE0-AB7E-4CE3-A937-8C559AF4AACA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817718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CCBC674-8B23-462D-AB86-C7A287A8F7B3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</p:spTree>
    <p:extLst>
      <p:ext uri="{BB962C8B-B14F-4D97-AF65-F5344CB8AC3E}">
        <p14:creationId xmlns:p14="http://schemas.microsoft.com/office/powerpoint/2010/main" val="418797961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0370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2405380-D94C-486B-845F-224C06A32D96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293385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3368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E988217-DB93-45E5-BFC0-7A84C86B2878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50204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AB6F74A-7957-4C2E-94B0-65A22B5D7B2B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6106594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131D4B5-7CA1-45B1-9772-6DA2B1768514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5137816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370959B-8059-4124-A752-003B459F955D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2381834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74C7658-5B86-44CD-BC73-143CE4297DF8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6393782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764EE6D-3E19-4680-AB57-6C0A66E4D391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>
                <a:solidFill>
                  <a:srgbClr val="C00000"/>
                </a:solidFill>
              </a:rPr>
              <a:t> 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31425902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D4E1A0-02C6-428F-BD77-7F3CB464D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2238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22" imgW="530" imgH="530" progId="TCLayout.ActiveDocument.1">
                  <p:embed/>
                </p:oleObj>
              </mc:Choice>
              <mc:Fallback>
                <p:oleObj name="think-cell Slide" r:id="rId22" imgW="530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D4E1A0-02C6-428F-BD77-7F3CB464D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F17ED0-2EB2-40E9-B256-FC8C106F3E7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 err="1">
              <a:latin typeface="Futura Bold" panose="00000900000000000000" pitchFamily="2" charset="0"/>
              <a:ea typeface="+mj-ea"/>
              <a:cs typeface="+mj-cs"/>
              <a:sym typeface="Futura Bold" panose="00000900000000000000" pitchFamily="2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ABFCB3F0-0023-4818-89CA-ED81C7B878F1}" type="datetime1">
              <a:rPr lang="en-US" noProof="1" smtClean="0"/>
              <a:t>2/26/2021</a:t>
            </a:fld>
            <a:endParaRPr lang="en-GB" noProof="1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pyright of Shell Petroleum</a:t>
            </a:r>
            <a:r>
              <a:rPr lang="en-GB" sz="850" baseline="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 Development Co. of Nig. Ltd.</a:t>
            </a:r>
            <a:endParaRPr lang="en-GB" sz="850" noProof="1">
              <a:solidFill>
                <a:schemeClr val="tx1"/>
              </a:solidFill>
              <a:latin typeface="Futura Medium" panose="00000400000000000000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351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2" r:id="rId1"/>
    <p:sldLayoutId id="2147484483" r:id="rId2"/>
    <p:sldLayoutId id="2147484484" r:id="rId3"/>
    <p:sldLayoutId id="2147484485" r:id="rId4"/>
    <p:sldLayoutId id="2147484486" r:id="rId5"/>
    <p:sldLayoutId id="2147484487" r:id="rId6"/>
    <p:sldLayoutId id="2147484488" r:id="rId7"/>
    <p:sldLayoutId id="2147484489" r:id="rId8"/>
    <p:sldLayoutId id="2147484490" r:id="rId9"/>
    <p:sldLayoutId id="2147484491" r:id="rId10"/>
    <p:sldLayoutId id="2147484492" r:id="rId11"/>
    <p:sldLayoutId id="2147484493" r:id="rId12"/>
    <p:sldLayoutId id="2147484494" r:id="rId13"/>
    <p:sldLayoutId id="2147484495" r:id="rId14"/>
    <p:sldLayoutId id="2147484496" r:id="rId15"/>
    <p:sldLayoutId id="2147484497" r:id="rId16"/>
    <p:sldLayoutId id="2147484498" r:id="rId17"/>
  </p:sldLayoutIdLst>
  <p:transition>
    <p:fade/>
  </p:transition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oleObject" Target="../embeddings/oleObject2.bin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61" Type="http://schemas.openxmlformats.org/officeDocument/2006/relationships/tags" Target="../tags/tag63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image" Target="../media/image4.emf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5BFEBE-169C-478B-9AEF-C78523E677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63" imgW="384" imgH="384" progId="TCLayout.ActiveDocument.1">
                  <p:embed/>
                </p:oleObj>
              </mc:Choice>
              <mc:Fallback>
                <p:oleObj name="think-cell Slide" r:id="rId63" imgW="384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5BFEBE-169C-478B-9AEF-C78523E67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C295C3B-971F-4CA0-82BA-47F74E161B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  <a:sym typeface="ShellMedium" panose="00000600000000000000" pitchFamily="50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5CDBB8F-77F6-4140-AAC0-2E59103A4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pu</a:t>
            </a:r>
            <a:r>
              <a:rPr lang="en-GB" dirty="0"/>
              <a:t> Ph3 Gamma Delivery Timeline and Milestone</a:t>
            </a:r>
            <a:br>
              <a:rPr lang="en-GB" dirty="0"/>
            </a:b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915824-B31A-4159-8B70-9607AF4253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D32BAE6A-B452-4007-8177-56DD051636F9}" type="slidenum">
              <a:rPr lang="en-GB" noProof="1" smtClean="0"/>
              <a:pPr lvl="0"/>
              <a:t>1</a:t>
            </a:fld>
            <a:endParaRPr lang="en-GB" noProof="1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AEAD1-A292-463D-94E5-A122887DB9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r>
              <a:rPr lang="en-GB" noProof="1"/>
              <a:t>November 2020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A61D0EA-81A3-4707-A75C-B80CDCC855BD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787650" y="1528763"/>
            <a:ext cx="8891588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89749711-2D60-4713-8BC8-E0AF300B0CDD}" type="datetime'''''''''''''''''2''''''''''''''''''''0''''''''''2''''''''1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2021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3732B1A-3801-4BD8-A762-180AED1A6279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787650" y="1831975"/>
            <a:ext cx="1447800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C5776D5C-0525-41A0-8FE5-25F1A9EB34F7}" type="datetime'''''''''''''J''''''''''''''''a''n''''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Jan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DEC1698-8E21-4157-B5A1-715CFFD5465A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235450" y="1831975"/>
            <a:ext cx="1377950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2AD3A570-07D0-4561-BCDB-9946D394BCD2}" type="datetime'''''''''''''''''''''''''''''''''''Feb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Feb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A97E3C0-7B56-4037-A6CC-C90C6FF31D85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613401" y="1831975"/>
            <a:ext cx="1585913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ED6103EF-8259-43E1-8E28-2C7556C684ED}" type="datetime'''Ma''''''''''''''''''''''''''''''''''r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Mar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1C21E21-FF21-4899-A859-74FC1DC6829A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7199313" y="1831975"/>
            <a:ext cx="1516063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fld id="{19BC3014-EC7C-4123-8807-B01DAA44DAEA}" type="datetime'''''''''''''''''''''''''''''''''''''''''''''''''''''''''Ap''r'">
              <a:rPr lang="en-GB" altLang="en-US" sz="1200" b="1" smtClean="0">
                <a:solidFill>
                  <a:srgbClr val="40404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defRPr/>
              </a:pPr>
              <a:t>Apr</a:t>
            </a:fld>
            <a:endParaRPr kumimoji="0" lang="en-GB" sz="1200" b="1" i="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2B80371-B359-4F4C-893E-9AA16287197D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715375" y="1831975"/>
            <a:ext cx="1447800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fld id="{0ED75EB9-B178-4B04-A363-B5B3902F39DE}" type="datetime'''''''''''''''''M''''''''''a''''''''''''''''y'''''''''''''">
              <a:rPr lang="en-GB" altLang="en-US" sz="1200" b="1" smtClean="0">
                <a:solidFill>
                  <a:srgbClr val="40404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defRPr/>
              </a:pPr>
              <a:t>May</a:t>
            </a:fld>
            <a:endParaRPr kumimoji="0" lang="en-GB" sz="1200" b="1" i="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EFB4B37-B27A-4CCA-BE34-650EC7FB00F0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0163175" y="1831975"/>
            <a:ext cx="1516063" cy="3032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fld id="{379312A2-6AC3-4B0A-80FA-9FEDB3F108CF}" type="datetime'''''''''''''''''''''''''''''''''''J''''''u''n'''">
              <a:rPr lang="en-GB" altLang="en-US" sz="1200" b="1" smtClean="0">
                <a:solidFill>
                  <a:srgbClr val="40404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defRPr/>
              </a:pPr>
              <a:t>Jun</a:t>
            </a:fld>
            <a:endParaRPr kumimoji="0" lang="en-GB" sz="1200" b="1" i="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sym typeface="+mn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94A330C-6265-4357-9A7D-21469A919FC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715375" y="2135188"/>
            <a:ext cx="0" cy="410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C3D382D-5847-4363-8C74-66726C42A4C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08000" y="2135188"/>
            <a:ext cx="0" cy="4105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1A4CE2C-5CD1-48B6-90F3-8E6954B335D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163175" y="2135188"/>
            <a:ext cx="0" cy="410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64A42CA-DA79-4D97-B51D-D1A7D2B5231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235450" y="2135188"/>
            <a:ext cx="0" cy="410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B94B355-C329-4096-ACA9-AB9AA26149A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1679238" y="2135188"/>
            <a:ext cx="0" cy="4105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C70100D-1D17-4DB7-990B-0DE8F51DDA6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2787650" y="2135188"/>
            <a:ext cx="0" cy="4105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8B5EDD4-B69A-42F7-AFDB-2A85C1ABA0C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199313" y="2135188"/>
            <a:ext cx="0" cy="410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513B85A-0DE0-4C2D-AF76-0AD4E46313F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613400" y="2135188"/>
            <a:ext cx="0" cy="410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CBB97C71-DDA1-457C-9609-371CFAC7F0D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08000" y="4700588"/>
            <a:ext cx="111712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85B7E3E6-146D-4F0C-84D5-5DF0A87AB62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08000" y="3419475"/>
            <a:ext cx="111712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DE9721E-D94B-4121-9661-FD2AF778FBD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8000" y="6240463"/>
            <a:ext cx="111712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B7F5C64-C1C3-4617-9709-5B9FD7BB16D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08000" y="2135188"/>
            <a:ext cx="111712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15E50BB0-DE24-4E5E-9F40-9213CD74C22B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3270249" y="5567363"/>
            <a:ext cx="1784350" cy="146045"/>
          </a:xfrm>
          <a:prstGeom prst="rect">
            <a:avLst/>
          </a:prstGeom>
          <a:solidFill>
            <a:srgbClr val="6F8DB9"/>
          </a:solidFill>
          <a:ln w="19050" algn="ctr">
            <a:solidFill>
              <a:srgbClr val="6F8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87D8A42-2D53-48BE-8B9F-819C35F70C9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2855913" y="5056188"/>
            <a:ext cx="2000250" cy="79375"/>
          </a:xfrm>
          <a:prstGeom prst="rect">
            <a:avLst/>
          </a:prstGeom>
          <a:solidFill>
            <a:srgbClr val="6F8DB9"/>
          </a:solidFill>
          <a:ln w="19050" algn="ctr">
            <a:solidFill>
              <a:srgbClr val="6F8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3897209-610E-43BA-9323-2AE2829DB1E7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267576" y="5822950"/>
            <a:ext cx="1241425" cy="79375"/>
          </a:xfrm>
          <a:prstGeom prst="rect">
            <a:avLst/>
          </a:prstGeom>
          <a:solidFill>
            <a:srgbClr val="6F8DB9"/>
          </a:solidFill>
          <a:ln w="19050" algn="ctr">
            <a:solidFill>
              <a:srgbClr val="6F8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79CA1D4-9856-4707-8981-E61A2DA5A796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959226" y="3775075"/>
            <a:ext cx="1273172" cy="146043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77A4EE1A-D4DD-4E5A-B875-4D17E65AB58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475287" y="4286250"/>
            <a:ext cx="5653088" cy="79375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8DF40FF-A458-4005-93BC-D1AF5F54870C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4648200" y="5822950"/>
            <a:ext cx="2551113" cy="79375"/>
          </a:xfrm>
          <a:prstGeom prst="rect">
            <a:avLst/>
          </a:prstGeom>
          <a:solidFill>
            <a:srgbClr val="6F8DB9"/>
          </a:solidFill>
          <a:ln w="19050" algn="ctr">
            <a:solidFill>
              <a:srgbClr val="6F8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5C7119E-2E75-4141-AF2A-8BB3EF10933D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925762" y="5311775"/>
            <a:ext cx="2687638" cy="79375"/>
          </a:xfrm>
          <a:prstGeom prst="rect">
            <a:avLst/>
          </a:prstGeom>
          <a:solidFill>
            <a:srgbClr val="6F8DB9"/>
          </a:solidFill>
          <a:ln w="19050" algn="ctr">
            <a:solidFill>
              <a:srgbClr val="6F8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919462B-9F1B-4F01-89B6-6DBE5DB6FA2E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2792412" y="2749549"/>
            <a:ext cx="3451225" cy="100005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FC88E2E4-6B6E-4893-AE1C-B0991DF629BA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201988" y="3005138"/>
            <a:ext cx="3997324" cy="107950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97A95B4-E677-499A-9038-C49D59921A36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303713" y="3260725"/>
            <a:ext cx="5100638" cy="79375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ABBCE16-277B-4E7C-90D3-214EA1CAFBEC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579938" y="4030663"/>
            <a:ext cx="2468564" cy="117439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53" name="Diamond 152">
            <a:extLst>
              <a:ext uri="{FF2B5EF4-FFF2-40B4-BE49-F238E27FC236}">
                <a16:creationId xmlns:a16="http://schemas.microsoft.com/office/drawing/2014/main" id="{BBC230A8-4E00-4A5E-B6E4-0E5877AB4431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10174288" y="2220913"/>
            <a:ext cx="114300" cy="114300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67" name="Diamond 166">
            <a:extLst>
              <a:ext uri="{FF2B5EF4-FFF2-40B4-BE49-F238E27FC236}">
                <a16:creationId xmlns:a16="http://schemas.microsoft.com/office/drawing/2014/main" id="{BB68CDEB-4708-4BE8-A242-64044BE94CB1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 flipH="1">
            <a:off x="7048517" y="4391819"/>
            <a:ext cx="141279" cy="223837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21" name="Diamond 120">
            <a:extLst>
              <a:ext uri="{FF2B5EF4-FFF2-40B4-BE49-F238E27FC236}">
                <a16:creationId xmlns:a16="http://schemas.microsoft.com/office/drawing/2014/main" id="{BAC6E621-1C47-44C8-B4E5-F2B0D7F1D38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604000" y="2220913"/>
            <a:ext cx="114300" cy="114300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37" name="Diamond 136">
            <a:extLst>
              <a:ext uri="{FF2B5EF4-FFF2-40B4-BE49-F238E27FC236}">
                <a16:creationId xmlns:a16="http://schemas.microsoft.com/office/drawing/2014/main" id="{47C9B8D4-E1C4-4DAE-962F-108481DC8EE2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11207750" y="4013200"/>
            <a:ext cx="114300" cy="114300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err="1"/>
          </a:p>
        </p:txBody>
      </p:sp>
      <p:sp>
        <p:nvSpPr>
          <p:cNvPr id="105" name="Diamond 104">
            <a:extLst>
              <a:ext uri="{FF2B5EF4-FFF2-40B4-BE49-F238E27FC236}">
                <a16:creationId xmlns:a16="http://schemas.microsoft.com/office/drawing/2014/main" id="{78137ADA-C77D-41FF-B831-E7B088527C2B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4899025" y="2476500"/>
            <a:ext cx="114300" cy="114300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07F7E1C8-2522-494F-97B6-ECB4F89A7281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902075" y="3502025"/>
            <a:ext cx="114300" cy="114300"/>
          </a:xfrm>
          <a:prstGeom prst="diamond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/>
          </a:p>
        </p:txBody>
      </p:sp>
      <p:sp useBgFill="1">
        <p:nvSpPr>
          <p:cNvPr id="135" name="Rectangle 134">
            <a:extLst>
              <a:ext uri="{FF2B5EF4-FFF2-40B4-BE49-F238E27FC236}">
                <a16:creationId xmlns:a16="http://schemas.microsoft.com/office/drawing/2014/main" id="{E52BA53D-6442-4D87-AEBB-8741CFBFE1F6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6394449" y="2701926"/>
            <a:ext cx="735013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Epic delivery</a:t>
            </a:r>
            <a:endParaRPr lang="en-GB" sz="1000" dirty="0">
              <a:sym typeface="+mn-lt"/>
            </a:endParaRPr>
          </a:p>
        </p:txBody>
      </p:sp>
      <p:sp useBgFill="1">
        <p:nvSpPr>
          <p:cNvPr id="119" name="Rectangle 118">
            <a:extLst>
              <a:ext uri="{FF2B5EF4-FFF2-40B4-BE49-F238E27FC236}">
                <a16:creationId xmlns:a16="http://schemas.microsoft.com/office/drawing/2014/main" id="{2082A66A-A7CE-4D7A-A011-B28D544C1911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3170238" y="3452813"/>
            <a:ext cx="690563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ym typeface="+mn-lt"/>
              </a:rPr>
              <a:t>KO meeting</a:t>
            </a:r>
          </a:p>
        </p:txBody>
      </p:sp>
      <p:sp useBgFill="1">
        <p:nvSpPr>
          <p:cNvPr id="130" name="Rectangle 129">
            <a:extLst>
              <a:ext uri="{FF2B5EF4-FFF2-40B4-BE49-F238E27FC236}">
                <a16:creationId xmlns:a16="http://schemas.microsoft.com/office/drawing/2014/main" id="{D32014B9-7B35-4D0B-875D-3C36E31A958A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5255062" y="3729832"/>
            <a:ext cx="909638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 dirty="0"/>
              <a:t>Test first 6 Epics</a:t>
            </a:r>
            <a:endParaRPr lang="en-GB" sz="1000" b="1" dirty="0">
              <a:sym typeface="+mn-lt"/>
            </a:endParaRPr>
          </a:p>
        </p:txBody>
      </p:sp>
      <p:sp useBgFill="1">
        <p:nvSpPr>
          <p:cNvPr id="143" name="Rectangle 142">
            <a:extLst>
              <a:ext uri="{FF2B5EF4-FFF2-40B4-BE49-F238E27FC236}">
                <a16:creationId xmlns:a16="http://schemas.microsoft.com/office/drawing/2014/main" id="{CCA6E43D-B693-4FF7-9D95-D3C9BAC12AD9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7129462" y="3974307"/>
            <a:ext cx="115887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000" b="1" dirty="0">
                <a:sym typeface="+mn-lt"/>
              </a:rPr>
              <a:t>Test remaining Epics</a:t>
            </a:r>
          </a:p>
        </p:txBody>
      </p:sp>
      <p:sp useBgFill="1">
        <p:nvSpPr>
          <p:cNvPr id="139" name="Rectangle 138">
            <a:extLst>
              <a:ext uri="{FF2B5EF4-FFF2-40B4-BE49-F238E27FC236}">
                <a16:creationId xmlns:a16="http://schemas.microsoft.com/office/drawing/2014/main" id="{82D19BB8-630C-4DB7-BF83-138CA3319615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10171113" y="3963988"/>
            <a:ext cx="995363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 dirty="0"/>
              <a:t>Early DG2 target</a:t>
            </a:r>
            <a:endParaRPr lang="en-GB" sz="1000" b="1" dirty="0">
              <a:sym typeface="+mn-lt"/>
            </a:endParaRPr>
          </a:p>
        </p:txBody>
      </p:sp>
      <p:sp useBgFill="1">
        <p:nvSpPr>
          <p:cNvPr id="118" name="Rectangle 117">
            <a:extLst>
              <a:ext uri="{FF2B5EF4-FFF2-40B4-BE49-F238E27FC236}">
                <a16:creationId xmlns:a16="http://schemas.microsoft.com/office/drawing/2014/main" id="{B28670D9-8640-46B6-A0C4-2AE1F89593E5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350125" y="5929313"/>
            <a:ext cx="1077913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ym typeface="+mn-lt"/>
              </a:rPr>
              <a:t>Implement solution</a:t>
            </a:r>
          </a:p>
        </p:txBody>
      </p:sp>
      <p:sp useBgFill="1">
        <p:nvSpPr>
          <p:cNvPr id="165" name="Rectangle 164">
            <a:extLst>
              <a:ext uri="{FF2B5EF4-FFF2-40B4-BE49-F238E27FC236}">
                <a16:creationId xmlns:a16="http://schemas.microsoft.com/office/drawing/2014/main" id="{14A04ED5-838A-42FE-B489-79D1C94857D2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4544221" y="4384674"/>
            <a:ext cx="183832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100" b="1" dirty="0">
                <a:highlight>
                  <a:srgbClr val="FFFF00"/>
                </a:highlight>
                <a:sym typeface="+mn-lt"/>
              </a:rPr>
              <a:t>L2 Gate, Decide to use Gamma for </a:t>
            </a:r>
            <a:r>
              <a:rPr lang="en-GB" sz="1100" b="1" dirty="0" err="1">
                <a:highlight>
                  <a:srgbClr val="FFFF00"/>
                </a:highlight>
                <a:sym typeface="+mn-lt"/>
              </a:rPr>
              <a:t>Epu</a:t>
            </a:r>
            <a:r>
              <a:rPr lang="en-GB" sz="1100" b="1" dirty="0">
                <a:highlight>
                  <a:srgbClr val="FFFF00"/>
                </a:highlight>
                <a:sym typeface="+mn-lt"/>
              </a:rPr>
              <a:t> 3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B49BDE5-5B76-4794-9FB8-B27C6A4D9CE3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68324" y="3421063"/>
            <a:ext cx="125730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GB" altLang="en-US" sz="1200" b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sym typeface="+mn-lt"/>
              </a:rPr>
              <a:t>Epu</a:t>
            </a:r>
            <a:r>
              <a:rPr kumimoji="0" lang="en-GB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sym typeface="+mn-lt"/>
              </a:rPr>
              <a:t> Phase 3 pilot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5299AE3-EDF4-490B-9873-3251A9D473BC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568325" y="4957763"/>
            <a:ext cx="760413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altLang="en-US" sz="1200" dirty="0">
                <a:solidFill>
                  <a:srgbClr val="404040"/>
                </a:solidFill>
              </a:rPr>
              <a:t>SharePoint</a:t>
            </a:r>
            <a:endParaRPr kumimoji="0" lang="en-GB" altLang="en-US" sz="120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122" name="Rectangle 121">
            <a:extLst>
              <a:ext uri="{FF2B5EF4-FFF2-40B4-BE49-F238E27FC236}">
                <a16:creationId xmlns:a16="http://schemas.microsoft.com/office/drawing/2014/main" id="{97423E39-8263-4E93-B30B-1AB22B6A6248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5054600" y="2427288"/>
            <a:ext cx="1409700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All Pilot User FB meeting</a:t>
            </a:r>
            <a:endParaRPr lang="en-GB" sz="1000" dirty="0">
              <a:sym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508D351-E178-49BF-987F-8F7ADC6A05F3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568325" y="5213350"/>
            <a:ext cx="611188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altLang="en-US" sz="1200" dirty="0">
                <a:solidFill>
                  <a:srgbClr val="404040"/>
                </a:solidFill>
              </a:rPr>
              <a:t>Power BI</a:t>
            </a:r>
            <a:endParaRPr kumimoji="0" lang="en-GB" altLang="en-US" sz="120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97" name="Rectangle 96">
            <a:extLst>
              <a:ext uri="{FF2B5EF4-FFF2-40B4-BE49-F238E27FC236}">
                <a16:creationId xmlns:a16="http://schemas.microsoft.com/office/drawing/2014/main" id="{EF60E7F4-809E-4F47-B5E3-E073C2A5BE6C}"/>
              </a:ext>
            </a:extLst>
          </p:cNvPr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5080000" y="5500688"/>
            <a:ext cx="180022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ym typeface="+mn-lt"/>
              </a:rPr>
              <a:t>Confirm data location with IRM</a:t>
            </a:r>
            <a:endParaRPr lang="en-GB" sz="1000" dirty="0"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2539CE-1795-4BA3-8134-94BDC9666E53}"/>
              </a:ext>
            </a:extLst>
          </p:cNvPr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568324" y="2139950"/>
            <a:ext cx="117475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GB" sz="1200" b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sym typeface="+mn-lt"/>
              </a:rPr>
              <a:t>Gamma general</a:t>
            </a:r>
          </a:p>
        </p:txBody>
      </p:sp>
      <p:sp useBgFill="1">
        <p:nvSpPr>
          <p:cNvPr id="117" name="Rectangle 116">
            <a:extLst>
              <a:ext uri="{FF2B5EF4-FFF2-40B4-BE49-F238E27FC236}">
                <a16:creationId xmlns:a16="http://schemas.microsoft.com/office/drawing/2014/main" id="{0419A91C-4E2E-43A7-AC68-F0F10B8C8A72}"/>
              </a:ext>
            </a:extLst>
          </p:cNvPr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5232400" y="5929313"/>
            <a:ext cx="1382713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Confirm solution design </a:t>
            </a:r>
            <a:endParaRPr lang="en-GB" sz="1000" dirty="0">
              <a:sym typeface="+mn-l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9F55567-3C62-434C-A458-B9DE4C040F51}"/>
              </a:ext>
            </a:extLst>
          </p:cNvPr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568324" y="5468938"/>
            <a:ext cx="706438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altLang="en-US" sz="1200" dirty="0">
                <a:solidFill>
                  <a:srgbClr val="404040"/>
                </a:solidFill>
              </a:rPr>
              <a:t>IRM, Data</a:t>
            </a:r>
            <a:endParaRPr kumimoji="0" lang="en-GB" altLang="en-US" sz="1200" strike="noStrike" kern="1200" spc="0" normalizeH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149" name="Rectangle 148">
            <a:extLst>
              <a:ext uri="{FF2B5EF4-FFF2-40B4-BE49-F238E27FC236}">
                <a16:creationId xmlns:a16="http://schemas.microsoft.com/office/drawing/2014/main" id="{49A54B18-1BF9-4176-A22B-1189DD20FD04}"/>
              </a:ext>
            </a:extLst>
          </p:cNvPr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7267576" y="2928144"/>
            <a:ext cx="1536700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ym typeface="+mn-lt"/>
              </a:rPr>
              <a:t>Bug fixing &amp; improvement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F0E2515-16E9-4850-9CA9-70804741E723}"/>
              </a:ext>
            </a:extLst>
          </p:cNvPr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568324" y="4702175"/>
            <a:ext cx="215900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lang="en-GB" altLang="en-US" sz="1200" b="1" dirty="0">
                <a:solidFill>
                  <a:srgbClr val="404040"/>
                </a:solidFill>
                <a:sym typeface="+mn-lt"/>
              </a:rPr>
              <a:t>Permanent Nigeria IT solution</a:t>
            </a:r>
            <a:endParaRPr kumimoji="0" lang="en-GB" altLang="en-US" sz="1200" b="1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A3EEBD-31B6-4409-8661-56AF27E6ED2A}"/>
              </a:ext>
            </a:extLst>
          </p:cNvPr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568324" y="1855788"/>
            <a:ext cx="54610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fld id="{31C07526-412E-4788-939D-3014EE5E03FC}" type="datetime'A''''c''t''i''''''''''''''''''v''''i''''t''y'''''''">
              <a:rPr kumimoji="0" lang="en-GB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  <a:sym typeface="+mn-lt"/>
              </a:rPr>
              <a:pPr marL="0" marR="0" lvl="0" indent="0" algn="l" defTabSz="357708" rtl="0" eaLnBrk="1" fontAlgn="auto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1D21"/>
                </a:buClr>
                <a:buSzPct val="85000"/>
                <a:buFont typeface="Wingdings" pitchFamily="2" charset="2"/>
                <a:buNone/>
                <a:tabLst/>
                <a:defRPr/>
              </a:pPr>
              <a:t>Activity</a:t>
            </a:fld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  <a:sym typeface="+mn-lt"/>
            </a:endParaRPr>
          </a:p>
        </p:txBody>
      </p:sp>
      <p:sp useBgFill="1">
        <p:nvSpPr>
          <p:cNvPr id="154" name="Rectangle 153">
            <a:extLst>
              <a:ext uri="{FF2B5EF4-FFF2-40B4-BE49-F238E27FC236}">
                <a16:creationId xmlns:a16="http://schemas.microsoft.com/office/drawing/2014/main" id="{76BC4BB3-5154-4942-9D91-3F373EE09B25}"/>
              </a:ext>
            </a:extLst>
          </p:cNvPr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10329863" y="2171700"/>
            <a:ext cx="42862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Roll-out</a:t>
            </a:r>
            <a:endParaRPr lang="en-GB" sz="1000" dirty="0">
              <a:sym typeface="+mn-lt"/>
            </a:endParaRPr>
          </a:p>
        </p:txBody>
      </p:sp>
      <p:sp useBgFill="1">
        <p:nvSpPr>
          <p:cNvPr id="163" name="Rectangle 162">
            <a:extLst>
              <a:ext uri="{FF2B5EF4-FFF2-40B4-BE49-F238E27FC236}">
                <a16:creationId xmlns:a16="http://schemas.microsoft.com/office/drawing/2014/main" id="{7588F0E6-035B-4C7E-816E-3505B4791177}"/>
              </a:ext>
            </a:extLst>
          </p:cNvPr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8320968" y="4364831"/>
            <a:ext cx="134937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b="1" dirty="0"/>
              <a:t>Project work in Gamma</a:t>
            </a:r>
            <a:endParaRPr lang="en-GB" sz="1000" b="1" dirty="0">
              <a:sym typeface="+mn-lt"/>
            </a:endParaRPr>
          </a:p>
        </p:txBody>
      </p:sp>
      <p:sp useBgFill="1">
        <p:nvSpPr>
          <p:cNvPr id="126" name="Rectangle 125">
            <a:extLst>
              <a:ext uri="{FF2B5EF4-FFF2-40B4-BE49-F238E27FC236}">
                <a16:creationId xmlns:a16="http://schemas.microsoft.com/office/drawing/2014/main" id="{29990A24-A78F-49CA-9C04-14863D623672}"/>
              </a:ext>
            </a:extLst>
          </p:cNvPr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5441950" y="2171700"/>
            <a:ext cx="112077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DRB ‘</a:t>
            </a:r>
            <a:r>
              <a:rPr lang="en-GB" altLang="en-US" sz="1000" dirty="0" err="1"/>
              <a:t>MoT</a:t>
            </a:r>
            <a:r>
              <a:rPr lang="en-GB" altLang="en-US" sz="1000" dirty="0"/>
              <a:t> decision’</a:t>
            </a:r>
            <a:endParaRPr lang="en-GB" sz="1000" dirty="0">
              <a:sym typeface="+mn-lt"/>
            </a:endParaRPr>
          </a:p>
        </p:txBody>
      </p:sp>
      <p:sp useBgFill="1">
        <p:nvSpPr>
          <p:cNvPr id="157" name="Rectangle 156">
            <a:extLst>
              <a:ext uri="{FF2B5EF4-FFF2-40B4-BE49-F238E27FC236}">
                <a16:creationId xmlns:a16="http://schemas.microsoft.com/office/drawing/2014/main" id="{757AFAF4-684F-4D89-A4E1-4E686BC6998D}"/>
              </a:ext>
            </a:extLst>
          </p:cNvPr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9450388" y="3194050"/>
            <a:ext cx="831850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/>
              <a:t>Productization</a:t>
            </a:r>
            <a:endParaRPr lang="en-GB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483746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0l17MV0X68u7dFdPmX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4aqst2AZEkH8bqaO44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yQ.5y3rnahdyqfLvEh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37mhTXNoqNSqrA9LdM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GZinpyj.02.xDhCRy_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A5lMUsmFTalxvn7uCD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KdB5oazEsxPS3o1eY3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Y8Yh34vCkynjsrSYC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gfEOqZJAx_rHSMHcTA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lVbyVjllGKwDl1vaSV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xY545AuL5ye7GJ6F5H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89KzdmCrBqd0clJMza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hKW1nvudPFRFmMD9MI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pzCFU5kZpBBK_OyKTt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74em4OZQ.uEJK3rdOf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futI0IgOaNfSAocT0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uLFUSqH1RJlhpB6Ngk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JwhRvXpnR2FGrHJLRm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nsZez4i2T0ccv9mjKd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jU8RgU.lX5_AGlYV7c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q9cfvwQdh4X.v.kKQ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7vbsvN45vEK0XqrJgP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FtJ.P3p5eMCkLg2H7U9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HPw5Ol5gYBdBR.pHJy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5zcIf3Wob9CMDT8.Fb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XMUWRMmlfcLotWIXlI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bh8UOmkjuLpBi9xEh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Vbz_qHSaK37neKQIz4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PqGG3zN_ssGLH7YVH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4ND3LJHgP8ZwTqfQtf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a59qpiCnWTZBaKmODo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FVU2QSxTF9QIy63rIz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7JmZ1ohEm2s31iG.5Q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Hxj0t5dbIdJ2jrKKrh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4MKzvPMDKOkUSXWa1o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kcYns3WANKitG9q0Xn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v.6JXW5Z0vqaoWq9d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6uXDjT_6tth3snOLL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MwVe6RX9ebwxr03B8g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GzsRKhdKg8ht4164D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UWAZr1xdhxKXPd3Aw1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6Vb5HO4XpYACoxl83XB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n8FcASBxMsML_r3wj6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m2on7YB0X6xDc.mOS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K9CD3IadxVmolcC4yX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NbKO.oSzewoHAa4y7T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A.W71F1mIwafKy0hP..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NltYfjzL6_BIe8GGwZ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ajQxYMlQzYAlQUg4x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TX5YGEFxOM3_KYK2r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yTU5R6wJJjpgy70hw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A5W29sgLItlcAqp9x1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Mf0vs0JIjhTs6kQQIpb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u3VCculVf22IbBbkH8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QOfD3CkjrMIbbiX2SP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kXGtyqDAHj_.2.GEqs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nJjUkyRyhodFkbKLg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fqwjQR7aeaRLmGJEgQ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bLXSt4d7yelBMfHNQE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5jJV5aQeHh5b01d5rOnw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5" id="{A30C3381-B573-406F-B76E-C39C9C5E0CE7}" vid="{D12CFE0B-E918-4C52-A381-DBCE7D2CEE9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E35BBFEBEB978345857DCB9C9D1083F6" ma:contentTypeVersion="79" ma:contentTypeDescription="Shell Document Content Type" ma:contentTypeScope="" ma:versionID="8e6d17e952f545c49918ed5b73de4a37">
  <xsd:schema xmlns:xsd="http://www.w3.org/2001/XMLSchema" xmlns:xs="http://www.w3.org/2001/XMLSchema" xmlns:p="http://schemas.microsoft.com/office/2006/metadata/properties" xmlns:ns1="http://schemas.microsoft.com/sharepoint/v3" xmlns:ns2="c51262e2-46ae-4fba-80a6-aa158fd637b6" xmlns:ns4="http://schemas.microsoft.com/sharepoint/v4" targetNamespace="http://schemas.microsoft.com/office/2006/metadata/properties" ma:root="true" ma:fieldsID="d7b82fad8481a6c07caf1f7be76a1c6f" ns1:_="" ns2:_="" ns4:_="">
    <xsd:import namespace="http://schemas.microsoft.com/sharepoint/v3"/>
    <xsd:import namespace="c51262e2-46ae-4fba-80a6-aa158fd637b6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WorkgroupID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1:Shell_x0020_SharePoint_x0020_SAEF_x0020_KeepFileLocal"/>
                <xsd:element ref="ns1:Shell_x0020_SharePoint_x0020_SAEF_x0020_AssetIdentifier" minOccurs="0"/>
                <xsd:element ref="ns2:_dlc_DocId" minOccurs="0"/>
                <xsd:element ref="ns2:_dlc_DocIdPersistId" minOccurs="0"/>
                <xsd:element ref="ns1:Shell_x0020_SharePoint_x0020_SAEF_x0020_FilePlanRecordType" minOccurs="0"/>
                <xsd:element ref="ns1:Shell_x0020_SharePoint_x0020_SAEF_x0020_RecordStatus" minOccurs="0"/>
                <xsd:element ref="ns1:Shell_x0020_SharePoint_x0020_SAEF_x0020_Declarer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8;#Confidential|e4bc29b2-6e76-48cc-b090-8b544c0802ae" ma:fieldId="{2ce2f798-4e95-48f9-a317-73f854109466}" ma:sspId="b9f46dd1-24cc-42ee-81c0-d22fe755409c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9;#Non-US content - Non Controlled|2ac8835e-0587-4096-a6e2-1f68da1e6cb3" ma:fieldId="{334f96ae-8e6f-4bca-bd92-9698e8369ad6}" ma:sspId="b9f46dd1-24cc-42ee-81c0-d22fe755409c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1;#Draft|1c86f377-7d91-4c95-bd5b-c18c83fe0aa5" ma:fieldId="{627a77c6-2170-43dd-a0ef-eb6a3870ea75}" ma:sspId="b9f46dd1-24cc-42ee-81c0-d22fe755409c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" ma:fieldId="{566fdc14-b4fa-46ee-a88e-e2aac7ad2eac}" ma:sspId="b9f46dd1-24cc-42ee-81c0-d22fe755409c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default="1;#Upstream International|dabf15d9-4f75-4ed1-b8a1-a0c3e2a85888" ma:fieldId="{0d7acb72-5c17-4ee6-b184-d60d15597f6a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default="2;#Sub-Saharan Africa|9d13514c-804d-40ff-8e8a-f6825f62fb70" ma:fieldId="{98984985-015b-4079-8918-b5a01b45e4b3}" ma:sspId="b9f46dd1-24cc-42ee-81c0-d22fe755409c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default="3;#Not Applicable|ddce64fb-3cb8-4cd9-8e3d-0fe554247fd1" ma:fieldId="{1284211f-8330-48b1-a5cc-ec1f0d9b0f7a}" ma:sspId="b9f46dd1-24cc-42ee-81c0-d22fe755409c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default="10;#All - Records Management|1f68a0f2-47ab-4887-8df5-7c0616d5ad90" ma:fieldId="{f7493bb9-5348-44de-a787-5c9f505950a2}" ma:sspId="b9f46dd1-24cc-42ee-81c0-d22fe755409c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default="4;#The Shell Petroleum Development Company Of Nigeria Limited|b482a97d-f8dd-41c8-ab1c-99b8408fd22e" ma:fieldId="{529dd253-148e-4d10-9b8c-1444f6695d3b}" ma:sspId="b9f46dd1-24cc-42ee-81c0-d22fe755409c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WorkgroupIDTaxHTField0" ma:index="23" ma:taxonomy="true" ma:internalName="Shell_x0020_SharePoint_x0020_SAEF_x0020_WorkgroupIDTaxHTField0" ma:taxonomyFieldName="Shell_x0020_SharePoint_x0020_SAEF_x0020_WorkgroupID" ma:displayName="TRIM Workgroup" ma:default="5;#Upstream _ Single File Plan - 22022|d3ed65c1-761d-4a84-a678-924ffd6ed182" ma:fieldId="{c47cabfe-a1bc-4e26-91b8-d95c8ce41647}" ma:sspId="b9f46dd1-24cc-42ee-81c0-d22fe755409c" ma:termSetId="85736b86-0546-4c3b-b21c-7ab07eee05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5" ma:displayName="Site Collection Name" ma:default="Assets Development – Swamp West 1 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6" ma:displayName="Site Owner" ma:default="i:0#.w|africa-me\bisi.t.banigbe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7" ma:taxonomy="true" ma:internalName="Shell_x0020_SharePoint_x0020_SAEF_x0020_LanguageTaxHTField0" ma:taxonomyFieldName="Shell_x0020_SharePoint_x0020_SAEF_x0020_Language" ma:displayName="Language" ma:default="6;#English|bd3ad5ee-f0c3-40aa-8cc8-36ef09940af3" ma:fieldId="{a99e316a-5158-4b34-9a98-5674ef8a1639}" ma:sspId="b9f46dd1-24cc-42ee-81c0-d22fe755409c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9" ma:taxonomy="true" ma:internalName="Shell_x0020_SharePoint_x0020_SAEF_x0020_CountryOfJurisdictionTaxHTField0" ma:taxonomyFieldName="Shell_x0020_SharePoint_x0020_SAEF_x0020_CountryOfJurisdiction" ma:displayName="Country of Jurisdiction" ma:default="7;#NIGERIA|973e3eb3-a5f9-4712-a628-787e048af9f3" ma:fieldId="{dc07035f-7987-48f5-ba88-2d29e2b62c9e}" ma:sspId="b9f46dd1-24cc-42ee-81c0-d22fe755409c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31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KeepFileLocal" ma:index="32" ma:displayName="Keep File Local" ma:default="0" ma:hidden="true" ma:internalName="Shell_x0020_SharePoint_x0020_SAEF_x0020_KeepFileLocal" ma:readOnly="false">
      <xsd:simpleType>
        <xsd:restriction base="dms:Boolean"/>
      </xsd:simpleType>
    </xsd:element>
    <xsd:element name="Shell_x0020_SharePoint_x0020_SAEF_x0020_AssetIdentifier" ma:index="33" nillable="true" ma:displayName="Asset Identifier" ma:hidden="true" ma:internalName="Shell_x0020_SharePoint_x0020_SAEF_x0020_AssetIdentifier">
      <xsd:simpleType>
        <xsd:restriction base="dms:Text"/>
      </xsd:simpleType>
    </xsd:element>
    <xsd:element name="Shell_x0020_SharePoint_x0020_SAEF_x0020_FilePlanRecordType" ma:index="42" nillable="true" ma:displayName="File Plan Record Type" ma:hidden="true" ma:internalName="Shell_x0020_SharePoint_x0020_SAEF_x0020_FilePlanRecordType">
      <xsd:simpleType>
        <xsd:restriction base="dms:Text"/>
      </xsd:simpleType>
    </xsd:element>
    <xsd:element name="Shell_x0020_SharePoint_x0020_SAEF_x0020_RecordStatus" ma:index="43" nillable="true" ma:displayName="Record Status" ma:hidden="true" ma:internalName="Shell_x0020_SharePoint_x0020_SAEF_x0020_RecordStatus">
      <xsd:simpleType>
        <xsd:restriction base="dms:Text"/>
      </xsd:simpleType>
    </xsd:element>
    <xsd:element name="Shell_x0020_SharePoint_x0020_SAEF_x0020_Declarer" ma:index="44" nillable="true" ma:displayName="Declarer" ma:hidden="true" ma:internalName="Shell_x0020_SharePoint_x0020_SAEF_x0020_Declarer">
      <xsd:simpleType>
        <xsd:restriction base="dms:Text"/>
      </xsd:simpleType>
    </xsd:element>
    <xsd:element name="Shell_x0020_SharePoint_x0020_SAEF_x0020_IsRecord" ma:index="45" nillable="true" ma:displayName="Is Recor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46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7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8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9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1262e2-46ae-4fba-80a6-aa158fd637b6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4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50" nillable="true" ma:displayName="Taxonomy Catch All Column" ma:hidden="true" ma:list="{f859b0e4-f009-47c7-b091-d5b54e0499a8}" ma:internalName="TaxCatchAll" ma:showField="CatchAllData" ma:web="c51262e2-46ae-4fba-80a6-aa158fd637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hidden="true" ma:list="{f859b0e4-f009-47c7-b091-d5b54e0499a8}" ma:internalName="TaxCatchAllLabel" ma:readOnly="true" ma:showField="CatchAllDataLabel" ma:web="c51262e2-46ae-4fba-80a6-aa158fd637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2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Global Solutions International B.V.</TermName>
          <TermId xmlns="http://schemas.microsoft.com/office/infopath/2007/PartnerControls">c97403e1-4af2-48b1-b9b1-50ae27f1fcb2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GERIA</TermName>
          <TermId xmlns="http://schemas.microsoft.com/office/infopath/2007/PartnerControls">973e3eb3-a5f9-4712-a628-787e048af9f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jects &amp; Technology</TermName>
          <TermId xmlns="http://schemas.microsoft.com/office/infopath/2007/PartnerControls">71ef976b-0896-446b-8541-fe6e77f226a6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RecordStatus xmlns="http://schemas.microsoft.com/sharepoint/v3" xsi:nil="true"/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n-US content - Non Controlled</TermName>
          <TermId xmlns="http://schemas.microsoft.com/office/infopath/2007/PartnerControls">2ac8835e-0587-4096-a6e2-1f68da1e6cb3</TermId>
        </TermInfo>
      </Terms>
    </Shell_x0020_SharePoint_x0020_SAEF_x0020_ExportControlClassificationTaxHTField0>
    <Shell_x0020_SharePoint_x0020_SAEF_x0020_WorkgroupID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pstream _ Single File Plan - 22022</TermName>
          <TermId xmlns="http://schemas.microsoft.com/office/infopath/2007/PartnerControls">d3ed65c1-761d-4a84-a678-924ffd6ed182</TermId>
        </TermInfo>
      </Terms>
    </Shell_x0020_SharePoint_x0020_SAEF_x0020_WorkgroupIDTaxHTField0>
    <IconOverlay xmlns="http://schemas.microsoft.com/sharepoint/v4" xsi:nil="true"/>
    <Shell_x0020_SharePoint_x0020_SAEF_x0020_FilePlanRecordType xmlns="http://schemas.microsoft.com/sharepoint/v3" xsi:nil="true"/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IT &amp; IM</TermName>
          <TermId xmlns="http://schemas.microsoft.com/office/infopath/2007/PartnerControls">ffe12cfe-77b7-417c-876c-64d7aa485bc7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hell_x0020_SharePoint_x0020_SAEF_x0020_BusinessProcessTaxHTField0>
    <Shell_x0020_SharePoint_x0020_SAEF_x0020_KeepFileLocal xmlns="http://schemas.microsoft.com/sharepoint/v3">false</Shell_x0020_SharePoint_x0020_SAEF_x0020_KeepFileLocal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4ab27e0b-f232-4e2f-b033-17b51f68e2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asia-pac\ranjith.r.kumar2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apers and Reports [ARM]</TermName>
          <TermId xmlns="http://schemas.microsoft.com/office/infopath/2007/PartnerControls">dde8adea-75a5-4f52-91f7-ef6bd7e39a09</TermId>
        </TermInfo>
      </Terms>
    </Shell_x0020_SharePoint_x0020_SAEF_x0020_DocumentTypeTaxHTField0>
    <Shell_x0020_SharePoint_x0020_SAEF_x0020_SiteCollectionName xmlns="http://schemas.microsoft.com/sharepoint/v3">Subsurface &amp; Wells Delivery Vertical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formation Technology</TermName>
          <TermId xmlns="http://schemas.microsoft.com/office/infopath/2007/PartnerControls">d388b442-0f35-4ef7-bb6d-ea4386749e1a</TermId>
        </TermInfo>
      </Terms>
    </Shell_x0020_SharePoint_x0020_SAEF_x0020_GlobalFunctionTaxHTField0>
    <Shell_x0020_SharePoint_x0020_SAEF_x0020_Declarer xmlns="http://schemas.microsoft.com/sharepoint/v3" xsi:nil="true"/>
    <Shell_x0020_SharePoint_x0020_SAEF_x0020_AssetIdentifier xmlns="http://schemas.microsoft.com/sharepoint/v3" xsi:nil="true"/>
    <TaxCatchAll xmlns="c51262e2-46ae-4fba-80a6-aa158fd637b6">
      <Value>15</Value>
      <Value>12</Value>
      <Value>42</Value>
      <Value>10</Value>
      <Value>9</Value>
      <Value>25</Value>
      <Value>92</Value>
      <Value>6</Value>
      <Value>22</Value>
      <Value>21</Value>
      <Value>7</Value>
      <Value>5</Value>
    </TaxCatchAll>
    <_dlc_DocId xmlns="c51262e2-46ae-4fba-80a6-aa158fd637b6">AFFAA0466-386460981-5792</_dlc_DocId>
    <_dlc_DocIdUrl xmlns="c51262e2-46ae-4fba-80a6-aa158fd637b6">
      <Url>https://nga001-sp.shell.com/sites/AFFAA0466/_layouts/15/DocIdRedir.aspx?ID=AFFAA0466-386460981-5792</Url>
      <Description>AFFAA0466-386460981-5792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p:Policy xmlns:p="office.server.policy" id="" local="true">
  <p:Name>Shell Document Base</p:Name>
  <p:Description/>
  <p:Statement/>
  <p:PolicyItems/>
</p:Policy>
</file>

<file path=customXml/itemProps1.xml><?xml version="1.0" encoding="utf-8"?>
<ds:datastoreItem xmlns:ds="http://schemas.openxmlformats.org/officeDocument/2006/customXml" ds:itemID="{EA0F898F-D4E2-4890-9479-4D12A2CF83C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14AD41B-4353-4BE3-A463-3D0DE44123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51262e2-46ae-4fba-80a6-aa158fd637b6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59688EC-88F3-47DB-A94A-B97297548EA2}">
  <ds:schemaRefs>
    <ds:schemaRef ds:uri="http://purl.org/dc/terms/"/>
    <ds:schemaRef ds:uri="http://schemas.microsoft.com/sharepoint/v3"/>
    <ds:schemaRef ds:uri="http://schemas.microsoft.com/sharepoint/v4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metadata/properties"/>
    <ds:schemaRef ds:uri="c51262e2-46ae-4fba-80a6-aa158fd637b6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5AC9E03-B3DE-4AFB-9A9E-41C8AECC29A1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8CA199D1-D3D5-4C8F-9970-AC401CCB4E74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 - Widescreen Shell template - 16x9</Template>
  <TotalTime>11778</TotalTime>
  <Words>89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Futura Bold</vt:lpstr>
      <vt:lpstr>Futura Medium</vt:lpstr>
      <vt:lpstr>ShellMedium</vt:lpstr>
      <vt:lpstr>Wingdings</vt:lpstr>
      <vt:lpstr>Shell layouts with footer</vt:lpstr>
      <vt:lpstr>think-cell Slide</vt:lpstr>
      <vt:lpstr>Epu Ph3 Gamma Delivery Timeline and Mileston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mesh Deshmukh</dc:creator>
  <cp:lastModifiedBy>Ndukwe, Reggy M SPDC-PTD/C/NP</cp:lastModifiedBy>
  <cp:revision>599</cp:revision>
  <cp:lastPrinted>2020-02-03T12:38:45Z</cp:lastPrinted>
  <dcterms:created xsi:type="dcterms:W3CDTF">2017-01-30T06:43:06Z</dcterms:created>
  <dcterms:modified xsi:type="dcterms:W3CDTF">2021-02-26T20:2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6F0A470EEB1140E7AA14F4CE8A50B54C0001CB1477F4DD432AA86DD56CC3887AF400E35BBFEBEB978345857DCB9C9D1083F6</vt:lpwstr>
  </property>
  <property fmtid="{D5CDD505-2E9C-101B-9397-08002B2CF9AE}" pid="5" name="_dlc_policyId">
    <vt:lpwstr/>
  </property>
  <property fmtid="{D5CDD505-2E9C-101B-9397-08002B2CF9AE}" pid="6" name="ItemRetentionFormula">
    <vt:lpwstr/>
  </property>
  <property fmtid="{D5CDD505-2E9C-101B-9397-08002B2CF9AE}" pid="7" name="_dlc_DocIdItemGuid">
    <vt:lpwstr>2263d257-9daf-4f20-928c-48a05bbc1bb1</vt:lpwstr>
  </property>
  <property fmtid="{D5CDD505-2E9C-101B-9397-08002B2CF9AE}" pid="8" name="Shell SharePoint SAEF SecurityClassification">
    <vt:lpwstr>12;#Restricted|21aa7f98-4035-4019-a764-107acb7269af</vt:lpwstr>
  </property>
  <property fmtid="{D5CDD505-2E9C-101B-9397-08002B2CF9AE}" pid="9" name="Shell SharePoint SAEF DocumentType">
    <vt:lpwstr>92;#Technical Papers and Reports [ARM]|dde8adea-75a5-4f52-91f7-ef6bd7e39a09</vt:lpwstr>
  </property>
  <property fmtid="{D5CDD505-2E9C-101B-9397-08002B2CF9AE}" pid="10" name="Shell SharePoint SAEF LegalEntity">
    <vt:lpwstr>42;#Shell Global Solutions International B.V.|c97403e1-4af2-48b1-b9b1-50ae27f1fcb2</vt:lpwstr>
  </property>
  <property fmtid="{D5CDD505-2E9C-101B-9397-08002B2CF9AE}" pid="11" name="Shell SharePoint SAEF BusinessUnitRegion">
    <vt:lpwstr>21;#Technical IT &amp; IM|ffe12cfe-77b7-417c-876c-64d7aa485bc7</vt:lpwstr>
  </property>
  <property fmtid="{D5CDD505-2E9C-101B-9397-08002B2CF9AE}" pid="12" name="Shell SharePoint SAEF GlobalFunction">
    <vt:lpwstr>22;#Information Technology|d388b442-0f35-4ef7-bb6d-ea4386749e1a</vt:lpwstr>
  </property>
  <property fmtid="{D5CDD505-2E9C-101B-9397-08002B2CF9AE}" pid="13" name="Shell SharePoint SAEF WorkgroupID">
    <vt:lpwstr>5;#Upstream _ Single File Plan - 22022|d3ed65c1-761d-4a84-a678-924ffd6ed182</vt:lpwstr>
  </property>
  <property fmtid="{D5CDD505-2E9C-101B-9397-08002B2CF9AE}" pid="14" name="Shell SharePoint SAEF CountryOfJurisdiction">
    <vt:lpwstr>7;#NIGERIA|973e3eb3-a5f9-4712-a628-787e048af9f3</vt:lpwstr>
  </property>
  <property fmtid="{D5CDD505-2E9C-101B-9397-08002B2CF9AE}" pid="15" name="Shell SharePoint SAEF ExportControlClassification">
    <vt:lpwstr>9;#Non-US content - Non Controlled|2ac8835e-0587-4096-a6e2-1f68da1e6cb3</vt:lpwstr>
  </property>
  <property fmtid="{D5CDD505-2E9C-101B-9397-08002B2CF9AE}" pid="16" name="Shell SharePoint SAEF DocumentStatus">
    <vt:lpwstr>15;#Final|4ab27e0b-f232-4e2f-b033-17b51f68e2a5</vt:lpwstr>
  </property>
  <property fmtid="{D5CDD505-2E9C-101B-9397-08002B2CF9AE}" pid="17" name="Shell SharePoint SAEF Language">
    <vt:lpwstr>6;#English|bd3ad5ee-f0c3-40aa-8cc8-36ef09940af3</vt:lpwstr>
  </property>
  <property fmtid="{D5CDD505-2E9C-101B-9397-08002B2CF9AE}" pid="18" name="Shell SharePoint SAEF Business">
    <vt:lpwstr>25;#Projects &amp; Technology|71ef976b-0896-446b-8541-fe6e77f226a6</vt:lpwstr>
  </property>
  <property fmtid="{D5CDD505-2E9C-101B-9397-08002B2CF9AE}" pid="19" name="Shell SharePoint SAEF BusinessProcess">
    <vt:lpwstr>10;#All - Records Management|1f68a0f2-47ab-4887-8df5-7c0616d5ad90</vt:lpwstr>
  </property>
</Properties>
</file>